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12"/>
  </p:notesMasterIdLst>
  <p:handoutMasterIdLst>
    <p:handoutMasterId r:id="rId13"/>
  </p:handoutMasterIdLst>
  <p:sldIdLst>
    <p:sldId id="268" r:id="rId2"/>
    <p:sldId id="462" r:id="rId3"/>
    <p:sldId id="463" r:id="rId4"/>
    <p:sldId id="464" r:id="rId5"/>
    <p:sldId id="465" r:id="rId6"/>
    <p:sldId id="466" r:id="rId7"/>
    <p:sldId id="467" r:id="rId8"/>
    <p:sldId id="468" r:id="rId9"/>
    <p:sldId id="428" r:id="rId10"/>
    <p:sldId id="452" r:id="rId11"/>
  </p:sldIdLst>
  <p:sldSz cx="9144000" cy="5143500" type="screen16x9"/>
  <p:notesSz cx="6797675" cy="9926638"/>
  <p:custDataLst>
    <p:tags r:id="rId14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E5EE"/>
    <a:srgbClr val="D5E5EF"/>
    <a:srgbClr val="DEEBF4"/>
    <a:srgbClr val="EEF5F9"/>
    <a:srgbClr val="E9F2F7"/>
    <a:srgbClr val="D4E5F0"/>
    <a:srgbClr val="E7E6E6"/>
    <a:srgbClr val="FCE3D4"/>
    <a:srgbClr val="E389A0"/>
    <a:srgbClr val="FBD5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82" autoAdjust="0"/>
    <p:restoredTop sz="94105" autoAdjust="0"/>
  </p:normalViewPr>
  <p:slideViewPr>
    <p:cSldViewPr snapToObjects="1" showGuides="1">
      <p:cViewPr varScale="1">
        <p:scale>
          <a:sx n="112" d="100"/>
          <a:sy n="112" d="100"/>
        </p:scale>
        <p:origin x="782" y="77"/>
      </p:cViewPr>
      <p:guideLst>
        <p:guide orient="horz" pos="486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onio Gomes" userId="2922d32e1834c000" providerId="LiveId" clId="{5D985B9D-32CD-476D-A38D-4EFE5FAC1F54}"/>
    <pc:docChg chg="undo custSel addSld delSld modSld sldOrd">
      <pc:chgData name="Antonio Gomes" userId="2922d32e1834c000" providerId="LiveId" clId="{5D985B9D-32CD-476D-A38D-4EFE5FAC1F54}" dt="2022-08-17T00:16:16.247" v="1945" actId="2696"/>
      <pc:docMkLst>
        <pc:docMk/>
      </pc:docMkLst>
      <pc:sldChg chg="addSp delSp modSp mod">
        <pc:chgData name="Antonio Gomes" userId="2922d32e1834c000" providerId="LiveId" clId="{5D985B9D-32CD-476D-A38D-4EFE5FAC1F54}" dt="2022-08-15T23:42:50.690" v="130" actId="14100"/>
        <pc:sldMkLst>
          <pc:docMk/>
          <pc:sldMk cId="3328428250" sldId="268"/>
        </pc:sldMkLst>
        <pc:spChg chg="add del mod">
          <ac:chgData name="Antonio Gomes" userId="2922d32e1834c000" providerId="LiveId" clId="{5D985B9D-32CD-476D-A38D-4EFE5FAC1F54}" dt="2022-08-15T23:39:57.360" v="100" actId="478"/>
          <ac:spMkLst>
            <pc:docMk/>
            <pc:sldMk cId="3328428250" sldId="268"/>
            <ac:spMk id="9" creationId="{703A1427-66E8-428A-8C7E-05DD4D6B8243}"/>
          </ac:spMkLst>
        </pc:spChg>
        <pc:spChg chg="mod">
          <ac:chgData name="Antonio Gomes" userId="2922d32e1834c000" providerId="LiveId" clId="{5D985B9D-32CD-476D-A38D-4EFE5FAC1F54}" dt="2022-08-15T23:42:44.857" v="129" actId="1035"/>
          <ac:spMkLst>
            <pc:docMk/>
            <pc:sldMk cId="3328428250" sldId="268"/>
            <ac:spMk id="10" creationId="{7D0F4E9E-D4B3-B547-A9DC-4D8880C9F46D}"/>
          </ac:spMkLst>
        </pc:spChg>
        <pc:spChg chg="mod">
          <ac:chgData name="Antonio Gomes" userId="2922d32e1834c000" providerId="LiveId" clId="{5D985B9D-32CD-476D-A38D-4EFE5FAC1F54}" dt="2022-08-15T23:42:44.857" v="129" actId="1035"/>
          <ac:spMkLst>
            <pc:docMk/>
            <pc:sldMk cId="3328428250" sldId="268"/>
            <ac:spMk id="11" creationId="{CADB838D-94AC-C545-9C3D-3E09738A3753}"/>
          </ac:spMkLst>
        </pc:spChg>
        <pc:spChg chg="add del">
          <ac:chgData name="Antonio Gomes" userId="2922d32e1834c000" providerId="LiveId" clId="{5D985B9D-32CD-476D-A38D-4EFE5FAC1F54}" dt="2022-08-15T23:39:19.895" v="95" actId="931"/>
          <ac:spMkLst>
            <pc:docMk/>
            <pc:sldMk cId="3328428250" sldId="268"/>
            <ac:spMk id="28" creationId="{4FE7AFD2-505F-7D45-860F-6FD627016A16}"/>
          </ac:spMkLst>
        </pc:spChg>
        <pc:picChg chg="add del mod">
          <ac:chgData name="Antonio Gomes" userId="2922d32e1834c000" providerId="LiveId" clId="{5D985B9D-32CD-476D-A38D-4EFE5FAC1F54}" dt="2022-08-15T23:37:37.300" v="90" actId="931"/>
          <ac:picMkLst>
            <pc:docMk/>
            <pc:sldMk cId="3328428250" sldId="268"/>
            <ac:picMk id="3" creationId="{132EDDD0-37C5-4225-BAEE-CF8A15408C91}"/>
          </ac:picMkLst>
        </pc:picChg>
        <pc:picChg chg="add del mod">
          <ac:chgData name="Antonio Gomes" userId="2922d32e1834c000" providerId="LiveId" clId="{5D985B9D-32CD-476D-A38D-4EFE5FAC1F54}" dt="2022-08-15T23:38:31.378" v="94" actId="931"/>
          <ac:picMkLst>
            <pc:docMk/>
            <pc:sldMk cId="3328428250" sldId="268"/>
            <ac:picMk id="5" creationId="{09EE5826-901A-4121-989F-9A3626628AB8}"/>
          </ac:picMkLst>
        </pc:picChg>
        <pc:picChg chg="add del mod">
          <ac:chgData name="Antonio Gomes" userId="2922d32e1834c000" providerId="LiveId" clId="{5D985B9D-32CD-476D-A38D-4EFE5FAC1F54}" dt="2022-08-15T23:39:55.018" v="99" actId="478"/>
          <ac:picMkLst>
            <pc:docMk/>
            <pc:sldMk cId="3328428250" sldId="268"/>
            <ac:picMk id="7" creationId="{2C7FBB0B-A5A8-43AB-A311-00658179FE0B}"/>
          </ac:picMkLst>
        </pc:picChg>
        <pc:picChg chg="add mod">
          <ac:chgData name="Antonio Gomes" userId="2922d32e1834c000" providerId="LiveId" clId="{5D985B9D-32CD-476D-A38D-4EFE5FAC1F54}" dt="2022-08-15T23:42:50.690" v="130" actId="14100"/>
          <ac:picMkLst>
            <pc:docMk/>
            <pc:sldMk cId="3328428250" sldId="268"/>
            <ac:picMk id="29" creationId="{E94AC7DD-AF44-4834-8A04-A642190248F1}"/>
          </ac:picMkLst>
        </pc:picChg>
        <pc:picChg chg="add mod">
          <ac:chgData name="Antonio Gomes" userId="2922d32e1834c000" providerId="LiveId" clId="{5D985B9D-32CD-476D-A38D-4EFE5FAC1F54}" dt="2022-08-15T23:42:44.857" v="129" actId="1035"/>
          <ac:picMkLst>
            <pc:docMk/>
            <pc:sldMk cId="3328428250" sldId="268"/>
            <ac:picMk id="31" creationId="{66BC9866-A897-4D1C-8371-D90DA6093F91}"/>
          </ac:picMkLst>
        </pc:picChg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288825666" sldId="30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060733086" sldId="304"/>
        </pc:sldMkLst>
      </pc:sldChg>
      <pc:sldChg chg="del">
        <pc:chgData name="Antonio Gomes" userId="2922d32e1834c000" providerId="LiveId" clId="{5D985B9D-32CD-476D-A38D-4EFE5FAC1F54}" dt="2022-08-17T00:16:14.078" v="1944" actId="2696"/>
        <pc:sldMkLst>
          <pc:docMk/>
          <pc:sldMk cId="3020074050" sldId="387"/>
        </pc:sldMkLst>
      </pc:sldChg>
      <pc:sldChg chg="addSp delSp del mod">
        <pc:chgData name="Antonio Gomes" userId="2922d32e1834c000" providerId="LiveId" clId="{5D985B9D-32CD-476D-A38D-4EFE5FAC1F54}" dt="2022-08-17T00:16:16.247" v="1945" actId="2696"/>
        <pc:sldMkLst>
          <pc:docMk/>
          <pc:sldMk cId="1471350083" sldId="388"/>
        </pc:sldMkLst>
        <pc:spChg chg="add del">
          <ac:chgData name="Antonio Gomes" userId="2922d32e1834c000" providerId="LiveId" clId="{5D985B9D-32CD-476D-A38D-4EFE5FAC1F54}" dt="2022-08-15T23:52:18.605" v="168" actId="22"/>
          <ac:spMkLst>
            <pc:docMk/>
            <pc:sldMk cId="1471350083" sldId="388"/>
            <ac:spMk id="7" creationId="{F21B8288-1B3B-4AAE-BEA0-EBD90E201444}"/>
          </ac:spMkLst>
        </pc:spChg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417681373" sldId="389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949853211" sldId="390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1628610" sldId="391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781140110" sldId="392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39258452" sldId="39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462832199" sldId="394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075168777" sldId="395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998715554" sldId="397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287543875" sldId="399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301639194" sldId="401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741649612" sldId="40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431576156" sldId="404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048263106" sldId="405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995059547" sldId="407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608069645" sldId="408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411057373" sldId="409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657166730" sldId="410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447380451" sldId="411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362915772" sldId="412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665923516" sldId="41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547979127" sldId="415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767086736" sldId="417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748771359" sldId="418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239894168" sldId="419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913037381" sldId="420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052226825" sldId="421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518701323" sldId="422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901743916" sldId="42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480531686" sldId="424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6058696" sldId="425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59294258" sldId="426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951738927" sldId="427"/>
        </pc:sldMkLst>
      </pc:sldChg>
      <pc:sldChg chg="modSp mod ord">
        <pc:chgData name="Antonio Gomes" userId="2922d32e1834c000" providerId="LiveId" clId="{5D985B9D-32CD-476D-A38D-4EFE5FAC1F54}" dt="2022-08-17T00:15:48.739" v="1943" actId="404"/>
        <pc:sldMkLst>
          <pc:docMk/>
          <pc:sldMk cId="1626631555" sldId="428"/>
        </pc:sldMkLst>
        <pc:spChg chg="mod">
          <ac:chgData name="Antonio Gomes" userId="2922d32e1834c000" providerId="LiveId" clId="{5D985B9D-32CD-476D-A38D-4EFE5FAC1F54}" dt="2022-08-16T23:57:42.513" v="1751" actId="20577"/>
          <ac:spMkLst>
            <pc:docMk/>
            <pc:sldMk cId="1626631555" sldId="428"/>
            <ac:spMk id="2" creationId="{00000000-0000-0000-0000-000000000000}"/>
          </ac:spMkLst>
        </pc:spChg>
        <pc:spChg chg="mod">
          <ac:chgData name="Antonio Gomes" userId="2922d32e1834c000" providerId="LiveId" clId="{5D985B9D-32CD-476D-A38D-4EFE5FAC1F54}" dt="2022-08-17T00:15:48.739" v="1943" actId="404"/>
          <ac:spMkLst>
            <pc:docMk/>
            <pc:sldMk cId="1626631555" sldId="428"/>
            <ac:spMk id="4" creationId="{CB4E417B-E6B8-6744-BDEF-7F30D18C59F0}"/>
          </ac:spMkLst>
        </pc:spChg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408244938" sldId="429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795705935" sldId="430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23814143" sldId="432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294415222" sldId="43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760491204" sldId="434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123017881" sldId="435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615152513" sldId="440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4138648205" sldId="442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000207587" sldId="44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482328109" sldId="444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159280867" sldId="445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538043948" sldId="448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3465111431" sldId="450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1712552497" sldId="453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413130957" sldId="454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321509870" sldId="458"/>
        </pc:sldMkLst>
      </pc:sldChg>
      <pc:sldChg chg="del">
        <pc:chgData name="Antonio Gomes" userId="2922d32e1834c000" providerId="LiveId" clId="{5D985B9D-32CD-476D-A38D-4EFE5FAC1F54}" dt="2022-08-16T23:58:52.086" v="1815" actId="47"/>
        <pc:sldMkLst>
          <pc:docMk/>
          <pc:sldMk cId="2466375479" sldId="459"/>
        </pc:sldMkLst>
      </pc:sldChg>
      <pc:sldChg chg="add del">
        <pc:chgData name="Antonio Gomes" userId="2922d32e1834c000" providerId="LiveId" clId="{5D985B9D-32CD-476D-A38D-4EFE5FAC1F54}" dt="2022-08-16T23:58:52.086" v="1815" actId="47"/>
        <pc:sldMkLst>
          <pc:docMk/>
          <pc:sldMk cId="3803109136" sldId="460"/>
        </pc:sldMkLst>
      </pc:sldChg>
      <pc:sldChg chg="addSp delSp modSp add del mod ord">
        <pc:chgData name="Antonio Gomes" userId="2922d32e1834c000" providerId="LiveId" clId="{5D985B9D-32CD-476D-A38D-4EFE5FAC1F54}" dt="2022-08-16T23:58:52.086" v="1815" actId="47"/>
        <pc:sldMkLst>
          <pc:docMk/>
          <pc:sldMk cId="3956738770" sldId="461"/>
        </pc:sldMkLst>
        <pc:spChg chg="del">
          <ac:chgData name="Antonio Gomes" userId="2922d32e1834c000" providerId="LiveId" clId="{5D985B9D-32CD-476D-A38D-4EFE5FAC1F54}" dt="2022-08-15T23:47:33.958" v="141" actId="478"/>
          <ac:spMkLst>
            <pc:docMk/>
            <pc:sldMk cId="3956738770" sldId="461"/>
            <ac:spMk id="2" creationId="{00000000-0000-0000-0000-000000000000}"/>
          </ac:spMkLst>
        </pc:spChg>
        <pc:spChg chg="del mod">
          <ac:chgData name="Antonio Gomes" userId="2922d32e1834c000" providerId="LiveId" clId="{5D985B9D-32CD-476D-A38D-4EFE5FAC1F54}" dt="2022-08-15T23:47:46.121" v="144" actId="478"/>
          <ac:spMkLst>
            <pc:docMk/>
            <pc:sldMk cId="3956738770" sldId="461"/>
            <ac:spMk id="3" creationId="{88977DC4-63FD-0742-8126-D7E9CD80570D}"/>
          </ac:spMkLst>
        </pc:spChg>
        <pc:spChg chg="del">
          <ac:chgData name="Antonio Gomes" userId="2922d32e1834c000" providerId="LiveId" clId="{5D985B9D-32CD-476D-A38D-4EFE5FAC1F54}" dt="2022-08-15T23:47:32.188" v="140" actId="478"/>
          <ac:spMkLst>
            <pc:docMk/>
            <pc:sldMk cId="3956738770" sldId="461"/>
            <ac:spMk id="4" creationId="{00000000-0000-0000-0000-000000000000}"/>
          </ac:spMkLst>
        </pc:spChg>
        <pc:spChg chg="add mod">
          <ac:chgData name="Antonio Gomes" userId="2922d32e1834c000" providerId="LiveId" clId="{5D985B9D-32CD-476D-A38D-4EFE5FAC1F54}" dt="2022-08-15T23:47:55.057" v="166" actId="20577"/>
          <ac:spMkLst>
            <pc:docMk/>
            <pc:sldMk cId="3956738770" sldId="461"/>
            <ac:spMk id="20" creationId="{1FEE593F-08CF-44CB-B8BC-8DEB48A8C953}"/>
          </ac:spMkLst>
        </pc:spChg>
        <pc:spChg chg="del mod">
          <ac:chgData name="Antonio Gomes" userId="2922d32e1834c000" providerId="LiveId" clId="{5D985B9D-32CD-476D-A38D-4EFE5FAC1F54}" dt="2022-08-15T23:47:17.794" v="136" actId="478"/>
          <ac:spMkLst>
            <pc:docMk/>
            <pc:sldMk cId="3956738770" sldId="461"/>
            <ac:spMk id="32" creationId="{00000000-0000-0000-0000-000000000000}"/>
          </ac:spMkLst>
        </pc:spChg>
        <pc:spChg chg="del">
          <ac:chgData name="Antonio Gomes" userId="2922d32e1834c000" providerId="LiveId" clId="{5D985B9D-32CD-476D-A38D-4EFE5FAC1F54}" dt="2022-08-15T23:47:19.057" v="137" actId="478"/>
          <ac:spMkLst>
            <pc:docMk/>
            <pc:sldMk cId="3956738770" sldId="461"/>
            <ac:spMk id="34" creationId="{00000000-0000-0000-0000-000000000000}"/>
          </ac:spMkLst>
        </pc:spChg>
        <pc:spChg chg="del">
          <ac:chgData name="Antonio Gomes" userId="2922d32e1834c000" providerId="LiveId" clId="{5D985B9D-32CD-476D-A38D-4EFE5FAC1F54}" dt="2022-08-15T23:47:20.063" v="138" actId="478"/>
          <ac:spMkLst>
            <pc:docMk/>
            <pc:sldMk cId="3956738770" sldId="461"/>
            <ac:spMk id="36" creationId="{00000000-0000-0000-0000-000000000000}"/>
          </ac:spMkLst>
        </pc:spChg>
        <pc:grpChg chg="del">
          <ac:chgData name="Antonio Gomes" userId="2922d32e1834c000" providerId="LiveId" clId="{5D985B9D-32CD-476D-A38D-4EFE5FAC1F54}" dt="2022-08-15T23:47:23.255" v="139" actId="478"/>
          <ac:grpSpMkLst>
            <pc:docMk/>
            <pc:sldMk cId="3956738770" sldId="461"/>
            <ac:grpSpMk id="28" creationId="{00000000-0000-0000-0000-000000000000}"/>
          </ac:grpSpMkLst>
        </pc:grpChg>
      </pc:sldChg>
      <pc:sldChg chg="addSp delSp modSp add mod ord">
        <pc:chgData name="Antonio Gomes" userId="2922d32e1834c000" providerId="LiveId" clId="{5D985B9D-32CD-476D-A38D-4EFE5FAC1F54}" dt="2022-08-15T23:59:05.511" v="313" actId="1076"/>
        <pc:sldMkLst>
          <pc:docMk/>
          <pc:sldMk cId="302358925" sldId="462"/>
        </pc:sldMkLst>
        <pc:spChg chg="del">
          <ac:chgData name="Antonio Gomes" userId="2922d32e1834c000" providerId="LiveId" clId="{5D985B9D-32CD-476D-A38D-4EFE5FAC1F54}" dt="2022-08-15T23:56:07.912" v="215" actId="478"/>
          <ac:spMkLst>
            <pc:docMk/>
            <pc:sldMk cId="302358925" sldId="462"/>
            <ac:spMk id="4" creationId="{00000000-0000-0000-0000-000000000000}"/>
          </ac:spMkLst>
        </pc:spChg>
        <pc:spChg chg="mod">
          <ac:chgData name="Antonio Gomes" userId="2922d32e1834c000" providerId="LiveId" clId="{5D985B9D-32CD-476D-A38D-4EFE5FAC1F54}" dt="2022-08-15T23:56:48.007" v="223" actId="1076"/>
          <ac:spMkLst>
            <pc:docMk/>
            <pc:sldMk cId="302358925" sldId="462"/>
            <ac:spMk id="5" creationId="{8FFCB682-A2FC-CA4B-AF1F-9B44DC3872A4}"/>
          </ac:spMkLst>
        </pc:spChg>
        <pc:spChg chg="mod">
          <ac:chgData name="Antonio Gomes" userId="2922d32e1834c000" providerId="LiveId" clId="{5D985B9D-32CD-476D-A38D-4EFE5FAC1F54}" dt="2022-08-15T23:57:39.674" v="231" actId="1076"/>
          <ac:spMkLst>
            <pc:docMk/>
            <pc:sldMk cId="302358925" sldId="462"/>
            <ac:spMk id="9" creationId="{92C4D6DD-881B-984A-9C92-27BA5BC27568}"/>
          </ac:spMkLst>
        </pc:spChg>
        <pc:spChg chg="add del mod">
          <ac:chgData name="Antonio Gomes" userId="2922d32e1834c000" providerId="LiveId" clId="{5D985B9D-32CD-476D-A38D-4EFE5FAC1F54}" dt="2022-08-15T23:57:48.425" v="233" actId="478"/>
          <ac:spMkLst>
            <pc:docMk/>
            <pc:sldMk cId="302358925" sldId="462"/>
            <ac:spMk id="10" creationId="{491F1CB3-1571-4CDF-AE98-50CC58A7A27B}"/>
          </ac:spMkLst>
        </pc:spChg>
        <pc:spChg chg="add mod">
          <ac:chgData name="Antonio Gomes" userId="2922d32e1834c000" providerId="LiveId" clId="{5D985B9D-32CD-476D-A38D-4EFE5FAC1F54}" dt="2022-08-15T23:59:05.511" v="313" actId="1076"/>
          <ac:spMkLst>
            <pc:docMk/>
            <pc:sldMk cId="302358925" sldId="462"/>
            <ac:spMk id="12" creationId="{1A91E60B-6A5A-4C6F-B416-D521611DD692}"/>
          </ac:spMkLst>
        </pc:spChg>
        <pc:picChg chg="add mod">
          <ac:chgData name="Antonio Gomes" userId="2922d32e1834c000" providerId="LiveId" clId="{5D985B9D-32CD-476D-A38D-4EFE5FAC1F54}" dt="2022-08-15T23:56:31.718" v="221" actId="1076"/>
          <ac:picMkLst>
            <pc:docMk/>
            <pc:sldMk cId="302358925" sldId="462"/>
            <ac:picMk id="207876" creationId="{17C7BF28-679F-4D64-8BED-336EAFE0940F}"/>
          </ac:picMkLst>
        </pc:picChg>
        <pc:picChg chg="add mod">
          <ac:chgData name="Antonio Gomes" userId="2922d32e1834c000" providerId="LiveId" clId="{5D985B9D-32CD-476D-A38D-4EFE5FAC1F54}" dt="2022-08-15T23:57:22.149" v="226" actId="1076"/>
          <ac:picMkLst>
            <pc:docMk/>
            <pc:sldMk cId="302358925" sldId="462"/>
            <ac:picMk id="207879" creationId="{F90EBFEE-4314-4EC5-8E5A-9E820177349F}"/>
          </ac:picMkLst>
        </pc:picChg>
        <pc:picChg chg="add del">
          <ac:chgData name="Antonio Gomes" userId="2922d32e1834c000" providerId="LiveId" clId="{5D985B9D-32CD-476D-A38D-4EFE5FAC1F54}" dt="2022-08-15T23:57:28.352" v="228"/>
          <ac:picMkLst>
            <pc:docMk/>
            <pc:sldMk cId="302358925" sldId="462"/>
            <ac:picMk id="207881" creationId="{168C72C9-4A94-4092-AD88-50764F5272E8}"/>
          </ac:picMkLst>
        </pc:picChg>
      </pc:sldChg>
      <pc:sldChg chg="addSp delSp modSp add mod">
        <pc:chgData name="Antonio Gomes" userId="2922d32e1834c000" providerId="LiveId" clId="{5D985B9D-32CD-476D-A38D-4EFE5FAC1F54}" dt="2022-08-16T23:42:54.046" v="1689" actId="20577"/>
        <pc:sldMkLst>
          <pc:docMk/>
          <pc:sldMk cId="296070773" sldId="463"/>
        </pc:sldMkLst>
        <pc:spChg chg="mod">
          <ac:chgData name="Antonio Gomes" userId="2922d32e1834c000" providerId="LiveId" clId="{5D985B9D-32CD-476D-A38D-4EFE5FAC1F54}" dt="2022-08-16T23:42:54.046" v="1689" actId="20577"/>
          <ac:spMkLst>
            <pc:docMk/>
            <pc:sldMk cId="296070773" sldId="463"/>
            <ac:spMk id="5" creationId="{8FFCB682-A2FC-CA4B-AF1F-9B44DC3872A4}"/>
          </ac:spMkLst>
        </pc:spChg>
        <pc:spChg chg="mod">
          <ac:chgData name="Antonio Gomes" userId="2922d32e1834c000" providerId="LiveId" clId="{5D985B9D-32CD-476D-A38D-4EFE5FAC1F54}" dt="2022-08-16T00:00:49.731" v="318" actId="20577"/>
          <ac:spMkLst>
            <pc:docMk/>
            <pc:sldMk cId="296070773" sldId="463"/>
            <ac:spMk id="9" creationId="{92C4D6DD-881B-984A-9C92-27BA5BC27568}"/>
          </ac:spMkLst>
        </pc:spChg>
        <pc:spChg chg="del mod">
          <ac:chgData name="Antonio Gomes" userId="2922d32e1834c000" providerId="LiveId" clId="{5D985B9D-32CD-476D-A38D-4EFE5FAC1F54}" dt="2022-08-16T00:04:05.551" v="737" actId="478"/>
          <ac:spMkLst>
            <pc:docMk/>
            <pc:sldMk cId="296070773" sldId="463"/>
            <ac:spMk id="12" creationId="{1A91E60B-6A5A-4C6F-B416-D521611DD692}"/>
          </ac:spMkLst>
        </pc:spChg>
        <pc:picChg chg="add mod">
          <ac:chgData name="Antonio Gomes" userId="2922d32e1834c000" providerId="LiveId" clId="{5D985B9D-32CD-476D-A38D-4EFE5FAC1F54}" dt="2022-08-16T00:04:20.846" v="739" actId="1076"/>
          <ac:picMkLst>
            <pc:docMk/>
            <pc:sldMk cId="296070773" sldId="463"/>
            <ac:picMk id="6" creationId="{0F678F4C-E257-4B8E-9CA7-5C5093DDE37B}"/>
          </ac:picMkLst>
        </pc:picChg>
        <pc:picChg chg="del">
          <ac:chgData name="Antonio Gomes" userId="2922d32e1834c000" providerId="LiveId" clId="{5D985B9D-32CD-476D-A38D-4EFE5FAC1F54}" dt="2022-08-16T00:04:25.964" v="740" actId="478"/>
          <ac:picMkLst>
            <pc:docMk/>
            <pc:sldMk cId="296070773" sldId="463"/>
            <ac:picMk id="207876" creationId="{17C7BF28-679F-4D64-8BED-336EAFE0940F}"/>
          </ac:picMkLst>
        </pc:picChg>
        <pc:picChg chg="del">
          <ac:chgData name="Antonio Gomes" userId="2922d32e1834c000" providerId="LiveId" clId="{5D985B9D-32CD-476D-A38D-4EFE5FAC1F54}" dt="2022-08-16T00:04:01.729" v="735" actId="478"/>
          <ac:picMkLst>
            <pc:docMk/>
            <pc:sldMk cId="296070773" sldId="463"/>
            <ac:picMk id="207879" creationId="{F90EBFEE-4314-4EC5-8E5A-9E820177349F}"/>
          </ac:picMkLst>
        </pc:picChg>
      </pc:sldChg>
      <pc:sldChg chg="addSp delSp modSp add mod">
        <pc:chgData name="Antonio Gomes" userId="2922d32e1834c000" providerId="LiveId" clId="{5D985B9D-32CD-476D-A38D-4EFE5FAC1F54}" dt="2022-08-16T00:09:13.045" v="1139" actId="14100"/>
        <pc:sldMkLst>
          <pc:docMk/>
          <pc:sldMk cId="846197770" sldId="464"/>
        </pc:sldMkLst>
        <pc:spChg chg="mod">
          <ac:chgData name="Antonio Gomes" userId="2922d32e1834c000" providerId="LiveId" clId="{5D985B9D-32CD-476D-A38D-4EFE5FAC1F54}" dt="2022-08-16T00:09:07.202" v="1138" actId="255"/>
          <ac:spMkLst>
            <pc:docMk/>
            <pc:sldMk cId="846197770" sldId="464"/>
            <ac:spMk id="5" creationId="{8FFCB682-A2FC-CA4B-AF1F-9B44DC3872A4}"/>
          </ac:spMkLst>
        </pc:spChg>
        <pc:spChg chg="mod">
          <ac:chgData name="Antonio Gomes" userId="2922d32e1834c000" providerId="LiveId" clId="{5D985B9D-32CD-476D-A38D-4EFE5FAC1F54}" dt="2022-08-16T00:05:01.190" v="760" actId="20577"/>
          <ac:spMkLst>
            <pc:docMk/>
            <pc:sldMk cId="846197770" sldId="464"/>
            <ac:spMk id="9" creationId="{92C4D6DD-881B-984A-9C92-27BA5BC27568}"/>
          </ac:spMkLst>
        </pc:spChg>
        <pc:picChg chg="del">
          <ac:chgData name="Antonio Gomes" userId="2922d32e1834c000" providerId="LiveId" clId="{5D985B9D-32CD-476D-A38D-4EFE5FAC1F54}" dt="2022-08-16T00:06:20.700" v="880" actId="478"/>
          <ac:picMkLst>
            <pc:docMk/>
            <pc:sldMk cId="846197770" sldId="464"/>
            <ac:picMk id="6" creationId="{0F678F4C-E257-4B8E-9CA7-5C5093DDE37B}"/>
          </ac:picMkLst>
        </pc:picChg>
        <pc:picChg chg="add mod">
          <ac:chgData name="Antonio Gomes" userId="2922d32e1834c000" providerId="LiveId" clId="{5D985B9D-32CD-476D-A38D-4EFE5FAC1F54}" dt="2022-08-16T00:09:13.045" v="1139" actId="14100"/>
          <ac:picMkLst>
            <pc:docMk/>
            <pc:sldMk cId="846197770" sldId="464"/>
            <ac:picMk id="7" creationId="{087CB68A-CE78-4F94-A933-1E2C6A619CCB}"/>
          </ac:picMkLst>
        </pc:picChg>
      </pc:sldChg>
      <pc:sldChg chg="addSp delSp modSp add mod">
        <pc:chgData name="Antonio Gomes" userId="2922d32e1834c000" providerId="LiveId" clId="{5D985B9D-32CD-476D-A38D-4EFE5FAC1F54}" dt="2022-08-17T00:05:24.875" v="1833" actId="1076"/>
        <pc:sldMkLst>
          <pc:docMk/>
          <pc:sldMk cId="3032733845" sldId="465"/>
        </pc:sldMkLst>
        <pc:spChg chg="add del">
          <ac:chgData name="Antonio Gomes" userId="2922d32e1834c000" providerId="LiveId" clId="{5D985B9D-32CD-476D-A38D-4EFE5FAC1F54}" dt="2022-08-16T00:14:48.607" v="1266"/>
          <ac:spMkLst>
            <pc:docMk/>
            <pc:sldMk cId="3032733845" sldId="465"/>
            <ac:spMk id="4" creationId="{6AF6C89D-461E-4D4B-8E4A-0CC6A40928AF}"/>
          </ac:spMkLst>
        </pc:spChg>
        <pc:spChg chg="mod">
          <ac:chgData name="Antonio Gomes" userId="2922d32e1834c000" providerId="LiveId" clId="{5D985B9D-32CD-476D-A38D-4EFE5FAC1F54}" dt="2022-08-17T00:05:24.875" v="1833" actId="1076"/>
          <ac:spMkLst>
            <pc:docMk/>
            <pc:sldMk cId="3032733845" sldId="465"/>
            <ac:spMk id="5" creationId="{8FFCB682-A2FC-CA4B-AF1F-9B44DC3872A4}"/>
          </ac:spMkLst>
        </pc:spChg>
        <pc:spChg chg="add del mod">
          <ac:chgData name="Antonio Gomes" userId="2922d32e1834c000" providerId="LiveId" clId="{5D985B9D-32CD-476D-A38D-4EFE5FAC1F54}" dt="2022-08-16T00:14:47.277" v="1263"/>
          <ac:spMkLst>
            <pc:docMk/>
            <pc:sldMk cId="3032733845" sldId="465"/>
            <ac:spMk id="6" creationId="{ABF134DB-FB95-46FB-BDAC-AF25CFA6E8CF}"/>
          </ac:spMkLst>
        </pc:spChg>
        <pc:spChg chg="add del mod">
          <ac:chgData name="Antonio Gomes" userId="2922d32e1834c000" providerId="LiveId" clId="{5D985B9D-32CD-476D-A38D-4EFE5FAC1F54}" dt="2022-08-16T00:14:57.075" v="1270"/>
          <ac:spMkLst>
            <pc:docMk/>
            <pc:sldMk cId="3032733845" sldId="465"/>
            <ac:spMk id="8" creationId="{8234BA02-C58F-460C-BB39-1E7A2FB10EA8}"/>
          </ac:spMkLst>
        </pc:spChg>
        <pc:spChg chg="mod">
          <ac:chgData name="Antonio Gomes" userId="2922d32e1834c000" providerId="LiveId" clId="{5D985B9D-32CD-476D-A38D-4EFE5FAC1F54}" dt="2022-08-16T00:10:18.641" v="1165" actId="20577"/>
          <ac:spMkLst>
            <pc:docMk/>
            <pc:sldMk cId="3032733845" sldId="465"/>
            <ac:spMk id="9" creationId="{92C4D6DD-881B-984A-9C92-27BA5BC27568}"/>
          </ac:spMkLst>
        </pc:spChg>
        <pc:picChg chg="del">
          <ac:chgData name="Antonio Gomes" userId="2922d32e1834c000" providerId="LiveId" clId="{5D985B9D-32CD-476D-A38D-4EFE5FAC1F54}" dt="2022-08-16T00:16:11.348" v="1307" actId="478"/>
          <ac:picMkLst>
            <pc:docMk/>
            <pc:sldMk cId="3032733845" sldId="465"/>
            <ac:picMk id="7" creationId="{087CB68A-CE78-4F94-A933-1E2C6A619CCB}"/>
          </ac:picMkLst>
        </pc:picChg>
        <pc:picChg chg="add mod">
          <ac:chgData name="Antonio Gomes" userId="2922d32e1834c000" providerId="LiveId" clId="{5D985B9D-32CD-476D-A38D-4EFE5FAC1F54}" dt="2022-08-17T00:05:11.761" v="1832" actId="1076"/>
          <ac:picMkLst>
            <pc:docMk/>
            <pc:sldMk cId="3032733845" sldId="465"/>
            <ac:picMk id="1026" creationId="{A23CB0AF-E435-4D87-B9A4-29F697409D07}"/>
          </ac:picMkLst>
        </pc:picChg>
      </pc:sldChg>
      <pc:sldChg chg="addSp modSp add mod">
        <pc:chgData name="Antonio Gomes" userId="2922d32e1834c000" providerId="LiveId" clId="{5D985B9D-32CD-476D-A38D-4EFE5FAC1F54}" dt="2022-08-17T00:03:02.714" v="1822" actId="14100"/>
        <pc:sldMkLst>
          <pc:docMk/>
          <pc:sldMk cId="2269247880" sldId="466"/>
        </pc:sldMkLst>
        <pc:spChg chg="mod">
          <ac:chgData name="Antonio Gomes" userId="2922d32e1834c000" providerId="LiveId" clId="{5D985B9D-32CD-476D-A38D-4EFE5FAC1F54}" dt="2022-08-17T00:03:02.714" v="1822" actId="14100"/>
          <ac:spMkLst>
            <pc:docMk/>
            <pc:sldMk cId="2269247880" sldId="466"/>
            <ac:spMk id="5" creationId="{8FFCB682-A2FC-CA4B-AF1F-9B44DC3872A4}"/>
          </ac:spMkLst>
        </pc:spChg>
        <pc:spChg chg="mod">
          <ac:chgData name="Antonio Gomes" userId="2922d32e1834c000" providerId="LiveId" clId="{5D985B9D-32CD-476D-A38D-4EFE5FAC1F54}" dt="2022-08-16T00:19:15.268" v="1326" actId="20577"/>
          <ac:spMkLst>
            <pc:docMk/>
            <pc:sldMk cId="2269247880" sldId="466"/>
            <ac:spMk id="9" creationId="{92C4D6DD-881B-984A-9C92-27BA5BC27568}"/>
          </ac:spMkLst>
        </pc:spChg>
        <pc:picChg chg="add mod">
          <ac:chgData name="Antonio Gomes" userId="2922d32e1834c000" providerId="LiveId" clId="{5D985B9D-32CD-476D-A38D-4EFE5FAC1F54}" dt="2022-08-17T00:01:19.299" v="1821" actId="1076"/>
          <ac:picMkLst>
            <pc:docMk/>
            <pc:sldMk cId="2269247880" sldId="466"/>
            <ac:picMk id="6" creationId="{BC853924-0B86-4B7B-9BA2-DCDA7A235090}"/>
          </ac:picMkLst>
        </pc:picChg>
      </pc:sldChg>
      <pc:sldChg chg="addSp modSp add mod">
        <pc:chgData name="Antonio Gomes" userId="2922d32e1834c000" providerId="LiveId" clId="{5D985B9D-32CD-476D-A38D-4EFE5FAC1F54}" dt="2022-08-17T00:14:19.447" v="1922" actId="20577"/>
        <pc:sldMkLst>
          <pc:docMk/>
          <pc:sldMk cId="2943374740" sldId="467"/>
        </pc:sldMkLst>
        <pc:spChg chg="mod">
          <ac:chgData name="Antonio Gomes" userId="2922d32e1834c000" providerId="LiveId" clId="{5D985B9D-32CD-476D-A38D-4EFE5FAC1F54}" dt="2022-08-17T00:14:19.447" v="1922" actId="20577"/>
          <ac:spMkLst>
            <pc:docMk/>
            <pc:sldMk cId="2943374740" sldId="467"/>
            <ac:spMk id="5" creationId="{8FFCB682-A2FC-CA4B-AF1F-9B44DC3872A4}"/>
          </ac:spMkLst>
        </pc:spChg>
        <pc:spChg chg="mod">
          <ac:chgData name="Antonio Gomes" userId="2922d32e1834c000" providerId="LiveId" clId="{5D985B9D-32CD-476D-A38D-4EFE5FAC1F54}" dt="2022-08-16T00:24:54.726" v="1565" actId="20577"/>
          <ac:spMkLst>
            <pc:docMk/>
            <pc:sldMk cId="2943374740" sldId="467"/>
            <ac:spMk id="9" creationId="{92C4D6DD-881B-984A-9C92-27BA5BC27568}"/>
          </ac:spMkLst>
        </pc:spChg>
        <pc:picChg chg="add mod">
          <ac:chgData name="Antonio Gomes" userId="2922d32e1834c000" providerId="LiveId" clId="{5D985B9D-32CD-476D-A38D-4EFE5FAC1F54}" dt="2022-08-17T00:08:05.446" v="1839" actId="1076"/>
          <ac:picMkLst>
            <pc:docMk/>
            <pc:sldMk cId="2943374740" sldId="467"/>
            <ac:picMk id="2050" creationId="{65CF849B-237E-46D6-9672-FFF8CCB38B0E}"/>
          </ac:picMkLst>
        </pc:picChg>
      </pc:sldChg>
      <pc:sldChg chg="addSp delSp modSp add mod">
        <pc:chgData name="Antonio Gomes" userId="2922d32e1834c000" providerId="LiveId" clId="{5D985B9D-32CD-476D-A38D-4EFE5FAC1F54}" dt="2022-08-16T23:57:07.374" v="1731"/>
        <pc:sldMkLst>
          <pc:docMk/>
          <pc:sldMk cId="2680250294" sldId="468"/>
        </pc:sldMkLst>
        <pc:spChg chg="mod">
          <ac:chgData name="Antonio Gomes" userId="2922d32e1834c000" providerId="LiveId" clId="{5D985B9D-32CD-476D-A38D-4EFE5FAC1F54}" dt="2022-08-16T23:56:33.409" v="1713" actId="2710"/>
          <ac:spMkLst>
            <pc:docMk/>
            <pc:sldMk cId="2680250294" sldId="468"/>
            <ac:spMk id="5" creationId="{8FFCB682-A2FC-CA4B-AF1F-9B44DC3872A4}"/>
          </ac:spMkLst>
        </pc:spChg>
        <pc:spChg chg="add del">
          <ac:chgData name="Antonio Gomes" userId="2922d32e1834c000" providerId="LiveId" clId="{5D985B9D-32CD-476D-A38D-4EFE5FAC1F54}" dt="2022-08-16T23:56:06.856" v="1708" actId="22"/>
          <ac:spMkLst>
            <pc:docMk/>
            <pc:sldMk cId="2680250294" sldId="468"/>
            <ac:spMk id="7" creationId="{C3D33276-40E2-47F6-9B80-44BA48C02891}"/>
          </ac:spMkLst>
        </pc:spChg>
        <pc:spChg chg="mod">
          <ac:chgData name="Antonio Gomes" userId="2922d32e1834c000" providerId="LiveId" clId="{5D985B9D-32CD-476D-A38D-4EFE5FAC1F54}" dt="2022-08-16T23:57:07.374" v="1731"/>
          <ac:spMkLst>
            <pc:docMk/>
            <pc:sldMk cId="2680250294" sldId="468"/>
            <ac:spMk id="9" creationId="{92C4D6DD-881B-984A-9C92-27BA5BC27568}"/>
          </ac:spMkLst>
        </pc:spChg>
      </pc:sldChg>
      <pc:sldMasterChg chg="delSldLayout">
        <pc:chgData name="Antonio Gomes" userId="2922d32e1834c000" providerId="LiveId" clId="{5D985B9D-32CD-476D-A38D-4EFE5FAC1F54}" dt="2022-08-16T23:58:52.086" v="1815" actId="47"/>
        <pc:sldMasterMkLst>
          <pc:docMk/>
          <pc:sldMasterMk cId="986787546" sldId="2147483723"/>
        </pc:sldMasterMkLst>
        <pc:sldLayoutChg chg="del">
          <pc:chgData name="Antonio Gomes" userId="2922d32e1834c000" providerId="LiveId" clId="{5D985B9D-32CD-476D-A38D-4EFE5FAC1F54}" dt="2022-08-16T23:58:52.086" v="1815" actId="47"/>
          <pc:sldLayoutMkLst>
            <pc:docMk/>
            <pc:sldMasterMk cId="986787546" sldId="2147483723"/>
            <pc:sldLayoutMk cId="2926161463" sldId="2147483776"/>
          </pc:sldLayoutMkLst>
        </pc:sldLayoutChg>
        <pc:sldLayoutChg chg="del">
          <pc:chgData name="Antonio Gomes" userId="2922d32e1834c000" providerId="LiveId" clId="{5D985B9D-32CD-476D-A38D-4EFE5FAC1F54}" dt="2022-08-16T23:58:52.086" v="1815" actId="47"/>
          <pc:sldLayoutMkLst>
            <pc:docMk/>
            <pc:sldMasterMk cId="986787546" sldId="2147483723"/>
            <pc:sldLayoutMk cId="1187642078" sldId="214748378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16/08/2022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6/08/2022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96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1833191"/>
            <a:ext cx="1331500" cy="26832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 b="0" i="0">
                <a:solidFill>
                  <a:schemeClr val="tx1"/>
                </a:solidFill>
                <a:latin typeface="Soho Gothic Pro Light" panose="020B0303030504020204" pitchFamily="34" charset="77"/>
              </a:defRPr>
            </a:lvl1pPr>
          </a:lstStyle>
          <a:p>
            <a:r>
              <a:rPr lang="es-ES" dirty="0"/>
              <a:t>Capítulo 1</a:t>
            </a:r>
            <a:endParaRPr lang="en-US" dirty="0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27752" y="1833190"/>
            <a:ext cx="1351998" cy="26832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8938018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48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299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113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75" r:id="rId4"/>
    <p:sldLayoutId id="2147483773" r:id="rId5"/>
    <p:sldLayoutId id="2147483771" r:id="rId6"/>
    <p:sldLayoutId id="2147483748" r:id="rId7"/>
    <p:sldLayoutId id="2147483749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46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678" r:id="rId32"/>
    <p:sldLayoutId id="2147483790" r:id="rId33"/>
    <p:sldLayoutId id="2147483796" r:id="rId34"/>
    <p:sldLayoutId id="2147483797" r:id="rId35"/>
    <p:sldLayoutId id="2147483669" r:id="rId36"/>
    <p:sldLayoutId id="2147483789" r:id="rId37"/>
    <p:sldLayoutId id="2147483685" r:id="rId38"/>
    <p:sldLayoutId id="2147483792" r:id="rId39"/>
    <p:sldLayoutId id="2147483693" r:id="rId40"/>
    <p:sldLayoutId id="2147483793" r:id="rId41"/>
    <p:sldLayoutId id="2147483701" r:id="rId42"/>
    <p:sldLayoutId id="2147483794" r:id="rId43"/>
    <p:sldLayoutId id="2147483785" r:id="rId44"/>
    <p:sldLayoutId id="2147483795" r:id="rId45"/>
    <p:sldLayoutId id="2147483788" r:id="rId4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0.jpe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4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hyperlink" Target="http://jwt.io/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9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>
            <a:extLst>
              <a:ext uri="{FF2B5EF4-FFF2-40B4-BE49-F238E27FC236}">
                <a16:creationId xmlns:a16="http://schemas.microsoft.com/office/drawing/2014/main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6888" y="3241309"/>
            <a:ext cx="4470293" cy="293120"/>
          </a:xfrm>
        </p:spPr>
        <p:txBody>
          <a:bodyPr/>
          <a:lstStyle/>
          <a:p>
            <a:r>
              <a:rPr lang="es-ES" sz="1600" dirty="0" err="1"/>
              <a:t>Introdução</a:t>
            </a:r>
            <a:r>
              <a:rPr lang="es-ES" sz="1600" dirty="0"/>
              <a:t> </a:t>
            </a:r>
            <a:r>
              <a:rPr lang="es-ES" sz="1600" dirty="0" err="1"/>
              <a:t>ao</a:t>
            </a:r>
            <a:r>
              <a:rPr lang="es-ES" sz="1600" dirty="0"/>
              <a:t> consumo de </a:t>
            </a:r>
            <a:r>
              <a:rPr lang="es-ES" sz="1600" dirty="0" err="1"/>
              <a:t>APIs</a:t>
            </a:r>
            <a:r>
              <a:rPr lang="es-ES" sz="1600" dirty="0"/>
              <a:t> </a:t>
            </a:r>
            <a:r>
              <a:rPr lang="es-ES" sz="1600" dirty="0" err="1"/>
              <a:t>Rest</a:t>
            </a:r>
            <a:endParaRPr lang="es-ES" sz="1600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6186" y="2139702"/>
            <a:ext cx="3312368" cy="1034982"/>
          </a:xfrm>
        </p:spPr>
        <p:txBody>
          <a:bodyPr anchor="ctr"/>
          <a:lstStyle/>
          <a:p>
            <a:r>
              <a:rPr lang="es-ES" dirty="0" err="1">
                <a:latin typeface="HP Simplified" panose="020B0606020204020204" pitchFamily="34" charset="0"/>
              </a:rPr>
              <a:t>Insomnia</a:t>
            </a:r>
            <a:endParaRPr lang="es-ES" dirty="0">
              <a:latin typeface="HP Simplified" panose="020B0606020204020204" pitchFamily="34" charset="0"/>
            </a:endParaRP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/>
        </p:nvGrpSpPr>
        <p:grpSpPr>
          <a:xfrm>
            <a:off x="5134782" y="1008710"/>
            <a:ext cx="1569938" cy="2774950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/>
        </p:nvGrpSpPr>
        <p:grpSpPr>
          <a:xfrm>
            <a:off x="6116089" y="1008710"/>
            <a:ext cx="1569938" cy="2774950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/>
        </p:nvGrpSpPr>
        <p:grpSpPr>
          <a:xfrm>
            <a:off x="7097397" y="1008710"/>
            <a:ext cx="1569938" cy="2774950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29" name="Imagem 28">
            <a:extLst>
              <a:ext uri="{FF2B5EF4-FFF2-40B4-BE49-F238E27FC236}">
                <a16:creationId xmlns:a16="http://schemas.microsoft.com/office/drawing/2014/main" id="{E94AC7DD-AF44-4834-8A04-A642190248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95140"/>
            <a:ext cx="1034982" cy="1034982"/>
          </a:xfrm>
          <a:prstGeom prst="rect">
            <a:avLst/>
          </a:prstGeom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id="{66BC9866-A897-4D1C-8371-D90DA6093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000" y="2139702"/>
            <a:ext cx="1034982" cy="1034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1760" y="1938528"/>
            <a:ext cx="3822700" cy="229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s-ES" sz="2800" dirty="0"/>
              <a:t>O que é </a:t>
            </a:r>
            <a:r>
              <a:rPr lang="es-ES" sz="2800" dirty="0" err="1"/>
              <a:t>uma</a:t>
            </a:r>
            <a:r>
              <a:rPr lang="es-ES" sz="2800" dirty="0"/>
              <a:t> API?</a:t>
            </a:r>
            <a:endParaRPr lang="en-US" sz="2800" dirty="0"/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699792" y="1059582"/>
            <a:ext cx="5688847" cy="173863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buNone/>
            </a:pPr>
            <a:r>
              <a:rPr lang="pt-BR" sz="2000" b="0" i="1" dirty="0" err="1">
                <a:solidFill>
                  <a:srgbClr val="333333"/>
                </a:solidFill>
                <a:effectLst/>
                <a:latin typeface="opensans"/>
              </a:rPr>
              <a:t>Application</a:t>
            </a:r>
            <a:r>
              <a:rPr lang="pt-BR" sz="2000" b="0" i="1" dirty="0">
                <a:solidFill>
                  <a:srgbClr val="333333"/>
                </a:solidFill>
                <a:effectLst/>
                <a:latin typeface="opensans"/>
              </a:rPr>
              <a:t> </a:t>
            </a:r>
            <a:r>
              <a:rPr lang="pt-BR" sz="2000" b="0" i="1" dirty="0" err="1">
                <a:solidFill>
                  <a:srgbClr val="333333"/>
                </a:solidFill>
                <a:effectLst/>
                <a:latin typeface="opensans"/>
              </a:rPr>
              <a:t>Programming</a:t>
            </a:r>
            <a:r>
              <a:rPr lang="pt-BR" sz="2000" b="0" i="1" dirty="0">
                <a:solidFill>
                  <a:srgbClr val="333333"/>
                </a:solidFill>
                <a:effectLst/>
                <a:latin typeface="opensans"/>
              </a:rPr>
              <a:t> Interface</a:t>
            </a:r>
            <a:r>
              <a:rPr lang="pt-BR" sz="2000" b="0" i="0" dirty="0">
                <a:solidFill>
                  <a:srgbClr val="333333"/>
                </a:solidFill>
                <a:effectLst/>
                <a:latin typeface="opensans"/>
              </a:rPr>
              <a:t> que do inglês, pode ser compreendida como uma interface de programação de aplicação. </a:t>
            </a:r>
          </a:p>
          <a:p>
            <a:pPr marL="0" indent="0">
              <a:buNone/>
            </a:pPr>
            <a:r>
              <a:rPr lang="pt-BR" sz="2000" b="0" i="0" dirty="0">
                <a:solidFill>
                  <a:srgbClr val="333333"/>
                </a:solidFill>
                <a:effectLst/>
                <a:latin typeface="opensans"/>
              </a:rPr>
              <a:t>API é um conjunto de normas que possibilita a comunicação entre plataformas através de uma série de padrões e protocolos.</a:t>
            </a:r>
            <a:endParaRPr lang="es-ES" sz="1400" dirty="0">
              <a:latin typeface="+mn-lt"/>
            </a:endParaRPr>
          </a:p>
        </p:txBody>
      </p:sp>
      <p:pic>
        <p:nvPicPr>
          <p:cNvPr id="207876" name="Picture 4" descr="Definição da API REST: O que são APIs REST (APIs RESTful)?">
            <a:extLst>
              <a:ext uri="{FF2B5EF4-FFF2-40B4-BE49-F238E27FC236}">
                <a16:creationId xmlns:a16="http://schemas.microsoft.com/office/drawing/2014/main" id="{17C7BF28-679F-4D64-8BED-336EAFE09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048" y="1059582"/>
            <a:ext cx="2160240" cy="1630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879" name="Picture 7" descr="Ponte – Wikipédia, a enciclopédia livre">
            <a:extLst>
              <a:ext uri="{FF2B5EF4-FFF2-40B4-BE49-F238E27FC236}">
                <a16:creationId xmlns:a16="http://schemas.microsoft.com/office/drawing/2014/main" id="{F90EBFEE-4314-4EC5-8E5A-9E8201773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00" y="3363838"/>
            <a:ext cx="1644774" cy="123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1A91E60B-6A5A-4C6F-B416-D521611DD692}"/>
              </a:ext>
            </a:extLst>
          </p:cNvPr>
          <p:cNvSpPr txBox="1"/>
          <p:nvPr/>
        </p:nvSpPr>
        <p:spPr>
          <a:xfrm>
            <a:off x="1971328" y="4074199"/>
            <a:ext cx="538753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rgbClr val="333333"/>
                </a:solidFill>
                <a:latin typeface="opensans"/>
              </a:rPr>
              <a:t>Simplificando</a:t>
            </a:r>
          </a:p>
          <a:p>
            <a:r>
              <a:rPr lang="pt-BR" sz="1400" dirty="0">
                <a:solidFill>
                  <a:srgbClr val="333333"/>
                </a:solidFill>
                <a:latin typeface="opensans"/>
              </a:rPr>
              <a:t>As APIs são um tipo de “ponte” que conectam aplicaçõ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358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s-ES" sz="2800" dirty="0"/>
              <a:t>O que é </a:t>
            </a:r>
            <a:r>
              <a:rPr lang="es-ES" sz="2800" dirty="0" err="1"/>
              <a:t>Rest</a:t>
            </a:r>
            <a:r>
              <a:rPr lang="es-ES" sz="2800" dirty="0"/>
              <a:t>?</a:t>
            </a:r>
            <a:endParaRPr lang="en-US" sz="2800" dirty="0"/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52000" y="1059583"/>
            <a:ext cx="8136639" cy="107451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buNone/>
            </a:pPr>
            <a:r>
              <a:rPr lang="pt-BR" sz="2000" b="0" i="1" dirty="0">
                <a:solidFill>
                  <a:srgbClr val="333333"/>
                </a:solidFill>
                <a:effectLst/>
                <a:latin typeface="opensans"/>
              </a:rPr>
              <a:t>REST é um modelo arquitetural de transferência de estado de recursos entrar aplicações que desejam se comunicar. Trabalha com base no protocolo HTPP para:</a:t>
            </a:r>
            <a:endParaRPr lang="pt-BR" sz="2000" dirty="0">
              <a:solidFill>
                <a:srgbClr val="333333"/>
              </a:solidFill>
              <a:latin typeface="opensans"/>
            </a:endParaRPr>
          </a:p>
          <a:p>
            <a:pPr marL="0" indent="0">
              <a:buNone/>
            </a:pPr>
            <a:endParaRPr lang="pt-BR" sz="2000" dirty="0">
              <a:solidFill>
                <a:srgbClr val="333333"/>
              </a:solidFill>
              <a:latin typeface="opensans"/>
            </a:endParaRPr>
          </a:p>
          <a:p>
            <a:pPr>
              <a:buFontTx/>
              <a:buChar char="-"/>
            </a:pPr>
            <a:r>
              <a:rPr lang="es-ES" sz="1400" dirty="0">
                <a:solidFill>
                  <a:srgbClr val="333333"/>
                </a:solidFill>
                <a:latin typeface="+mn-lt"/>
              </a:rPr>
              <a:t>Realizar a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comunicação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entre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aplicação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servidor e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aplicação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cliente</a:t>
            </a:r>
          </a:p>
          <a:p>
            <a:pPr>
              <a:buFontTx/>
              <a:buChar char="-"/>
            </a:pPr>
            <a:r>
              <a:rPr lang="es-ES" sz="1400" dirty="0" err="1">
                <a:solidFill>
                  <a:srgbClr val="333333"/>
                </a:solidFill>
                <a:latin typeface="+mn-lt"/>
              </a:rPr>
              <a:t>Padronizar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como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são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feitas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as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requisições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e repostas entre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aplicações</a:t>
            </a:r>
            <a:endParaRPr lang="es-ES" sz="1400" dirty="0">
              <a:solidFill>
                <a:srgbClr val="333333"/>
              </a:solidFill>
              <a:latin typeface="+mn-lt"/>
            </a:endParaRPr>
          </a:p>
          <a:p>
            <a:pPr>
              <a:buFontTx/>
              <a:buChar char="-"/>
            </a:pPr>
            <a:r>
              <a:rPr lang="es-ES" sz="1400" dirty="0">
                <a:solidFill>
                  <a:srgbClr val="333333"/>
                </a:solidFill>
                <a:latin typeface="+mn-lt"/>
              </a:rPr>
              <a:t>Manipular recursos em </a:t>
            </a:r>
            <a:r>
              <a:rPr lang="es-ES" sz="1400" dirty="0" err="1">
                <a:solidFill>
                  <a:srgbClr val="333333"/>
                </a:solidFill>
                <a:latin typeface="+mn-lt"/>
              </a:rPr>
              <a:t>um</a:t>
            </a:r>
            <a:r>
              <a:rPr lang="es-ES" sz="1400" dirty="0">
                <a:solidFill>
                  <a:srgbClr val="333333"/>
                </a:solidFill>
                <a:latin typeface="+mn-lt"/>
              </a:rPr>
              <a:t> servidor</a:t>
            </a:r>
            <a:endParaRPr lang="pt-BR" sz="2000" dirty="0">
              <a:solidFill>
                <a:srgbClr val="333333"/>
              </a:solidFill>
              <a:latin typeface="opensans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F678F4C-E257-4B8E-9CA7-5C5093DDE3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8092" y="3546661"/>
            <a:ext cx="3360711" cy="107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0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s-ES" sz="2800" dirty="0" err="1"/>
              <a:t>Comunicação</a:t>
            </a:r>
            <a:r>
              <a:rPr lang="es-ES" sz="2800" dirty="0"/>
              <a:t> em </a:t>
            </a:r>
            <a:r>
              <a:rPr lang="es-ES" sz="2800" dirty="0" err="1"/>
              <a:t>Rest</a:t>
            </a:r>
            <a:endParaRPr lang="en-US" sz="2800" dirty="0"/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55674" y="957001"/>
            <a:ext cx="5688847" cy="11106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buNone/>
            </a:pPr>
            <a:r>
              <a:rPr lang="pt-BR" sz="2000" b="0" i="1" dirty="0">
                <a:solidFill>
                  <a:srgbClr val="333333"/>
                </a:solidFill>
                <a:effectLst/>
                <a:latin typeface="opensans"/>
              </a:rPr>
              <a:t>O modelo REST utilizar dos métodos HTTP para estabelecer a comunicação e manipular os recursos do servidor:</a:t>
            </a:r>
            <a:endParaRPr lang="pt-BR" sz="2000" dirty="0">
              <a:solidFill>
                <a:srgbClr val="333333"/>
              </a:solidFill>
              <a:latin typeface="opensans"/>
            </a:endParaRPr>
          </a:p>
          <a:p>
            <a:pPr marL="0" indent="0">
              <a:buNone/>
            </a:pPr>
            <a:endParaRPr lang="pt-BR" sz="2000" dirty="0">
              <a:solidFill>
                <a:srgbClr val="333333"/>
              </a:solidFill>
              <a:latin typeface="opensans"/>
            </a:endParaRP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GET: Utilizado para buscar e obter informações.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POST: Utilizado para enviar informações.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PUT: Utilizado para enviar informações a um recurso já existente.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DELETE: Utilizado para remover um recurso do servidor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87CB68A-CE78-4F94-A933-1E2C6A619C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4521" y="1635645"/>
            <a:ext cx="3047200" cy="189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197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s-ES" sz="2800" dirty="0"/>
              <a:t>Códigos de Status HTTP</a:t>
            </a:r>
            <a:endParaRPr lang="en-US" sz="2800" dirty="0"/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55674" y="843558"/>
            <a:ext cx="5688847" cy="53462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buNone/>
            </a:pPr>
            <a:r>
              <a:rPr lang="pt-BR" sz="2000" i="1" dirty="0">
                <a:solidFill>
                  <a:srgbClr val="333333"/>
                </a:solidFill>
                <a:latin typeface="opensans"/>
              </a:rPr>
              <a:t>Retornos das requisições http:</a:t>
            </a:r>
            <a:endParaRPr lang="pt-BR" sz="2000" dirty="0">
              <a:solidFill>
                <a:srgbClr val="333333"/>
              </a:solidFill>
              <a:latin typeface="opensans"/>
            </a:endParaRPr>
          </a:p>
          <a:p>
            <a:pPr marL="0" indent="0">
              <a:buNone/>
            </a:pPr>
            <a:endParaRPr lang="pt-BR" sz="2000" dirty="0">
              <a:solidFill>
                <a:srgbClr val="333333"/>
              </a:solidFill>
              <a:latin typeface="opensans"/>
            </a:endParaRP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1xx - Respostas de informação (100-199),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2xx - Respostas de sucesso (200-299),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3xx - Redirecionamentos (300-399)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4xx - Erros do cliente (400-499)</a:t>
            </a:r>
          </a:p>
          <a:p>
            <a:r>
              <a:rPr lang="pt-BR" sz="1600" dirty="0">
                <a:solidFill>
                  <a:srgbClr val="333333"/>
                </a:solidFill>
                <a:latin typeface="opensans"/>
              </a:rPr>
              <a:t>5xx - Erros do servidor (500-599)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23CB0AF-E435-4D87-B9A4-29F69740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843558"/>
            <a:ext cx="1941298" cy="3733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2733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s-ES" sz="2800" dirty="0"/>
              <a:t>O que é JWT?</a:t>
            </a:r>
            <a:endParaRPr lang="en-US" sz="2800" dirty="0"/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55674" y="957001"/>
            <a:ext cx="5688847" cy="341494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buNone/>
            </a:pPr>
            <a:r>
              <a:rPr lang="pt-BR" sz="2000" i="1" dirty="0">
                <a:solidFill>
                  <a:srgbClr val="333333"/>
                </a:solidFill>
                <a:latin typeface="opensans"/>
              </a:rPr>
              <a:t>Do site oficial:</a:t>
            </a:r>
          </a:p>
          <a:p>
            <a:pPr marL="0" indent="0">
              <a:buNone/>
            </a:pPr>
            <a:r>
              <a:rPr lang="en-US" sz="2000" i="1" dirty="0">
                <a:solidFill>
                  <a:srgbClr val="333333"/>
                </a:solidFill>
                <a:latin typeface="opensans"/>
              </a:rPr>
              <a:t>JSON Web Tokens are an open, industry standard (RFC 7519) method for representing claims securely between two parties. – </a:t>
            </a:r>
            <a:r>
              <a:rPr lang="en-US" sz="2000" i="1" dirty="0">
                <a:solidFill>
                  <a:srgbClr val="333333"/>
                </a:solidFill>
                <a:latin typeface="opensans"/>
                <a:hlinkClick r:id="rId6"/>
              </a:rPr>
              <a:t>http://jwt.io</a:t>
            </a:r>
            <a:endParaRPr lang="en-US" sz="2000" i="1" dirty="0">
              <a:solidFill>
                <a:srgbClr val="333333"/>
              </a:solidFill>
              <a:latin typeface="opensans"/>
            </a:endParaRPr>
          </a:p>
          <a:p>
            <a:pPr marL="0" indent="0">
              <a:buNone/>
            </a:pPr>
            <a:endParaRPr lang="en-US" sz="2000" i="1" dirty="0">
              <a:solidFill>
                <a:srgbClr val="333333"/>
              </a:solidFill>
              <a:latin typeface="opensans"/>
            </a:endParaRPr>
          </a:p>
          <a:p>
            <a:pPr marL="0" indent="0">
              <a:buNone/>
            </a:pP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Traduzindo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, é um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padrão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aberto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que define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uma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forma compacta e auto-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contida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para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transmitir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de forma Segura,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informações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entre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duas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partes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como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</a:t>
            </a:r>
            <a:r>
              <a:rPr lang="en-US" sz="2000" i="1" dirty="0" err="1">
                <a:solidFill>
                  <a:srgbClr val="333333"/>
                </a:solidFill>
                <a:latin typeface="opensans"/>
              </a:rPr>
              <a:t>objeto</a:t>
            </a:r>
            <a:r>
              <a:rPr lang="en-US" sz="2000" i="1" dirty="0">
                <a:solidFill>
                  <a:srgbClr val="333333"/>
                </a:solidFill>
                <a:latin typeface="opensans"/>
              </a:rPr>
              <a:t> JSON.</a:t>
            </a:r>
            <a:endParaRPr lang="pt-BR" sz="2000" i="1" dirty="0">
              <a:solidFill>
                <a:srgbClr val="333333"/>
              </a:solidFill>
              <a:latin typeface="opensans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C853924-0B86-4B7B-9BA2-DCDA7A2350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44208" y="1367520"/>
            <a:ext cx="2351342" cy="1029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478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s-ES" sz="2800" dirty="0"/>
              <a:t>O que é </a:t>
            </a:r>
            <a:r>
              <a:rPr lang="es-ES" sz="2800" dirty="0" err="1"/>
              <a:t>Insomnia</a:t>
            </a:r>
            <a:r>
              <a:rPr lang="es-ES" sz="2800" dirty="0"/>
              <a:t>?</a:t>
            </a:r>
            <a:endParaRPr lang="en-US" sz="2800" dirty="0"/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195736" y="847712"/>
            <a:ext cx="5688847" cy="25508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buNone/>
            </a:pPr>
            <a:r>
              <a:rPr lang="pt-BR" sz="2000" i="1" dirty="0">
                <a:solidFill>
                  <a:srgbClr val="333333"/>
                </a:solidFill>
                <a:latin typeface="opensans"/>
              </a:rPr>
              <a:t>É uma ferramenta simples e poderosa para criar e executar chamadas para API com qualquer método HTTP.</a:t>
            </a:r>
          </a:p>
          <a:p>
            <a:pPr marL="0" indent="0">
              <a:buNone/>
            </a:pPr>
            <a:endParaRPr lang="pt-BR" sz="2000" i="1" dirty="0">
              <a:solidFill>
                <a:srgbClr val="333333"/>
              </a:solidFill>
              <a:latin typeface="opensans"/>
            </a:endParaRPr>
          </a:p>
          <a:p>
            <a:r>
              <a:rPr lang="pt-BR" sz="2000" i="1" dirty="0">
                <a:solidFill>
                  <a:srgbClr val="333333"/>
                </a:solidFill>
                <a:latin typeface="opensans"/>
              </a:rPr>
              <a:t>Open </a:t>
            </a:r>
            <a:r>
              <a:rPr lang="pt-BR" sz="2000" i="1" dirty="0" err="1">
                <a:solidFill>
                  <a:srgbClr val="333333"/>
                </a:solidFill>
                <a:latin typeface="opensans"/>
              </a:rPr>
              <a:t>Source</a:t>
            </a:r>
            <a:r>
              <a:rPr lang="pt-BR" sz="2000" i="1" dirty="0">
                <a:solidFill>
                  <a:srgbClr val="333333"/>
                </a:solidFill>
                <a:latin typeface="opensans"/>
              </a:rPr>
              <a:t> github.com/Kong/insomnia</a:t>
            </a:r>
          </a:p>
          <a:p>
            <a:r>
              <a:rPr lang="pt-BR" sz="2000" i="1" dirty="0">
                <a:solidFill>
                  <a:srgbClr val="333333"/>
                </a:solidFill>
                <a:latin typeface="opensans"/>
              </a:rPr>
              <a:t>Suporte a </a:t>
            </a:r>
            <a:r>
              <a:rPr lang="pt-BR" sz="2000" i="1" dirty="0" err="1">
                <a:solidFill>
                  <a:srgbClr val="333333"/>
                </a:solidFill>
                <a:latin typeface="opensans"/>
              </a:rPr>
              <a:t>GraphQL</a:t>
            </a:r>
            <a:r>
              <a:rPr lang="pt-BR" sz="2000" i="1" dirty="0">
                <a:solidFill>
                  <a:srgbClr val="333333"/>
                </a:solidFill>
                <a:latin typeface="opensans"/>
              </a:rPr>
              <a:t>, </a:t>
            </a:r>
            <a:r>
              <a:rPr lang="pt-BR" sz="2000" i="1" dirty="0" err="1">
                <a:solidFill>
                  <a:srgbClr val="333333"/>
                </a:solidFill>
                <a:latin typeface="opensans"/>
              </a:rPr>
              <a:t>gRPC</a:t>
            </a:r>
            <a:r>
              <a:rPr lang="pt-BR" sz="2000" i="1" dirty="0">
                <a:solidFill>
                  <a:srgbClr val="333333"/>
                </a:solidFill>
                <a:latin typeface="opensans"/>
              </a:rPr>
              <a:t>, entre outros</a:t>
            </a:r>
          </a:p>
          <a:p>
            <a:r>
              <a:rPr lang="pt-BR" sz="2000" i="1" dirty="0">
                <a:solidFill>
                  <a:srgbClr val="333333"/>
                </a:solidFill>
                <a:latin typeface="opensans"/>
              </a:rPr>
              <a:t>Criado em </a:t>
            </a:r>
            <a:r>
              <a:rPr lang="pt-BR" sz="2000" i="1" dirty="0" err="1">
                <a:solidFill>
                  <a:srgbClr val="333333"/>
                </a:solidFill>
                <a:latin typeface="opensans"/>
              </a:rPr>
              <a:t>Electron</a:t>
            </a:r>
            <a:endParaRPr lang="pt-BR" sz="2000" i="1" dirty="0">
              <a:solidFill>
                <a:srgbClr val="333333"/>
              </a:solidFill>
              <a:latin typeface="opensans"/>
            </a:endParaRPr>
          </a:p>
        </p:txBody>
      </p:sp>
      <p:pic>
        <p:nvPicPr>
          <p:cNvPr id="2050" name="Picture 2" descr="Install insomnia on Linux | Snap Store">
            <a:extLst>
              <a:ext uri="{FF2B5EF4-FFF2-40B4-BE49-F238E27FC236}">
                <a16:creationId xmlns:a16="http://schemas.microsoft.com/office/drawing/2014/main" id="{65CF849B-237E-46D6-9672-FFF8CCB38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00" y="847712"/>
            <a:ext cx="1724038" cy="1724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33747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494"/>
            <a:ext cx="8639588" cy="689507"/>
          </a:xfrm>
        </p:spPr>
        <p:txBody>
          <a:bodyPr/>
          <a:lstStyle/>
          <a:p>
            <a:r>
              <a:rPr lang="en-US" sz="2800" dirty="0" err="1"/>
              <a:t>Referências</a:t>
            </a:r>
            <a:r>
              <a:rPr lang="en-US" sz="2800" dirty="0"/>
              <a:t> </a:t>
            </a:r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8FFCB682-A2FC-CA4B-AF1F-9B44DC3872A4}"/>
              </a:ext>
            </a:extLst>
          </p:cNvPr>
          <p:cNvSpPr txBox="1">
            <a:spLocks/>
          </p:cNvSpPr>
          <p:nvPr/>
        </p:nvSpPr>
        <p:spPr>
          <a:xfrm>
            <a:off x="255674" y="957001"/>
            <a:ext cx="8635914" cy="25508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defPPr>
              <a:defRPr lang="es-ES"/>
            </a:defPPr>
            <a:lvl1pPr marL="171450" indent="-171450" defTabSz="514337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kumimoji="0" sz="1200" b="0" i="0" u="none" strike="noStrike" cap="none" spc="0" normalizeH="0" baseline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cs typeface="Soho Gothic Pro" panose="020B0503030504020204" pitchFamily="34" charset="0"/>
              </a:defRPr>
            </a:lvl1pPr>
            <a:lvl2pPr marL="38575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</a:lvl2pPr>
            <a:lvl3pPr marL="642922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125"/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None/>
              <a:defRPr sz="1013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/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pt-BR" i="1" dirty="0">
                <a:solidFill>
                  <a:srgbClr val="333333"/>
                </a:solidFill>
                <a:latin typeface="opensans"/>
              </a:rPr>
              <a:t>https://www.techtudo.com.br/listas/2020/06/o-que-e-api-e-para-que-serve-cinco-perguntas-e-respostas.ghtm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i="1" dirty="0">
                <a:solidFill>
                  <a:srgbClr val="333333"/>
                </a:solidFill>
                <a:latin typeface="opensans"/>
              </a:rPr>
              <a:t>https://developer.mozilla.org/pt-BR/docs/Web/HTTP/Statu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i="1" dirty="0">
                <a:solidFill>
                  <a:srgbClr val="333333"/>
                </a:solidFill>
                <a:latin typeface="opensans"/>
              </a:rPr>
              <a:t>https://pt.slideshare.net/alinebiath/testando-api-rest-parte-1-140231055?qid=07906a8d-12e0-41fb-b7a0-1996eee3e694&amp;v=&amp;b=&amp;from_search=12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i="1" dirty="0">
                <a:solidFill>
                  <a:srgbClr val="333333"/>
                </a:solidFill>
                <a:latin typeface="opensans"/>
              </a:rPr>
              <a:t>https://pt.slideshare.net/MarioMendona/jwt-json-web-token-69595302?qid=3f42361b-af27-4f0c-9b41-627765201956&amp;v=&amp;b=&amp;from_search=6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i="1" dirty="0">
                <a:solidFill>
                  <a:srgbClr val="333333"/>
                </a:solidFill>
                <a:latin typeface="opensans"/>
              </a:rPr>
              <a:t>https://pt.slideshare.net/pedrofernandesvieira/testando-api-rest-com-insomnia-core?qid=40f3daed-b7cf-4c20-8099-e05d605e8dec&amp;v=&amp;b=&amp;from_search=5</a:t>
            </a:r>
            <a:br>
              <a:rPr lang="pt-BR" i="1" dirty="0">
                <a:solidFill>
                  <a:srgbClr val="333333"/>
                </a:solidFill>
                <a:latin typeface="opensans"/>
              </a:rPr>
            </a:br>
            <a:r>
              <a:rPr lang="pt-BR" i="1" dirty="0">
                <a:solidFill>
                  <a:srgbClr val="333333"/>
                </a:solidFill>
                <a:latin typeface="opensans"/>
              </a:rPr>
              <a:t>https://www.youtube.com/watch?v=3tB0uDliS6Y</a:t>
            </a:r>
          </a:p>
          <a:p>
            <a:pPr marL="0" indent="0">
              <a:buNone/>
            </a:pPr>
            <a:endParaRPr lang="pt-BR" i="1" dirty="0">
              <a:solidFill>
                <a:srgbClr val="333333"/>
              </a:solidFill>
              <a:latin typeface="opensans"/>
            </a:endParaRPr>
          </a:p>
        </p:txBody>
      </p:sp>
    </p:spTree>
    <p:extLst>
      <p:ext uri="{BB962C8B-B14F-4D97-AF65-F5344CB8AC3E}">
        <p14:creationId xmlns:p14="http://schemas.microsoft.com/office/powerpoint/2010/main" val="2680250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033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Obrigado</a:t>
            </a:r>
            <a:r>
              <a:rPr lang="es-ES" dirty="0"/>
              <a:t>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4E417B-E6B8-6744-BDEF-7F30D18C59F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 err="1"/>
              <a:t>Vamos</a:t>
            </a:r>
            <a:r>
              <a:rPr lang="en-US" sz="1800" dirty="0"/>
              <a:t> para </a:t>
            </a:r>
            <a:r>
              <a:rPr lang="en-US" sz="1800" dirty="0" err="1"/>
              <a:t>prática</a:t>
            </a:r>
            <a:r>
              <a:rPr lang="en-US" sz="18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626631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4628</TotalTime>
  <Words>463</Words>
  <Application>Microsoft Office PowerPoint</Application>
  <PresentationFormat>Apresentação na tela (16:9)</PresentationFormat>
  <Paragraphs>47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8" baseType="lpstr">
      <vt:lpstr>Arial</vt:lpstr>
      <vt:lpstr>HP Simplified</vt:lpstr>
      <vt:lpstr>opensans</vt:lpstr>
      <vt:lpstr>Playfair Display</vt:lpstr>
      <vt:lpstr>Soho Gothic Pro</vt:lpstr>
      <vt:lpstr>Soho Gothic Pro Light</vt:lpstr>
      <vt:lpstr>Portadas</vt:lpstr>
      <vt:lpstr>Diapositiva de think-cell</vt:lpstr>
      <vt:lpstr>Insomnia</vt:lpstr>
      <vt:lpstr>O que é uma API?</vt:lpstr>
      <vt:lpstr>O que é Rest?</vt:lpstr>
      <vt:lpstr>Comunicação em Rest</vt:lpstr>
      <vt:lpstr>Códigos de Status HTTP</vt:lpstr>
      <vt:lpstr>O que é JWT?</vt:lpstr>
      <vt:lpstr>O que é Insomnia?</vt:lpstr>
      <vt:lpstr>Referências </vt:lpstr>
      <vt:lpstr>Obrigado!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Antonio Gomes</cp:lastModifiedBy>
  <cp:revision>74</cp:revision>
  <cp:lastPrinted>2018-09-05T10:32:03Z</cp:lastPrinted>
  <dcterms:created xsi:type="dcterms:W3CDTF">2018-09-13T08:34:57Z</dcterms:created>
  <dcterms:modified xsi:type="dcterms:W3CDTF">2022-08-17T00:21:38Z</dcterms:modified>
</cp:coreProperties>
</file>